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7" r:id="rId4"/>
    <p:sldMasterId id="2147483743" r:id="rId5"/>
  </p:sldMasterIdLst>
  <p:notesMasterIdLst>
    <p:notesMasterId r:id="rId10"/>
  </p:notesMasterIdLst>
  <p:handoutMasterIdLst>
    <p:handoutMasterId r:id="rId11"/>
  </p:handoutMasterIdLst>
  <p:sldIdLst>
    <p:sldId id="10462" r:id="rId6"/>
    <p:sldId id="10452" r:id="rId7"/>
    <p:sldId id="10466" r:id="rId8"/>
    <p:sldId id="1153" r:id="rId9"/>
  </p:sldIdLst>
  <p:sldSz cx="12192000" cy="6858000"/>
  <p:notesSz cx="6858000" cy="9144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1430665C-4500-42D6-9B07-69AE371F5513}">
          <p14:sldIdLst>
            <p14:sldId id="10462"/>
            <p14:sldId id="10452"/>
            <p14:sldId id="10466"/>
            <p14:sldId id="1153"/>
          </p14:sldIdLst>
        </p14:section>
      </p14:sectionLst>
    </p:ext>
    <p:ext uri="{EFAFB233-063F-42B5-8137-9DF3F51BA10A}">
      <p15:sldGuideLst xmlns:p15="http://schemas.microsoft.com/office/powerpoint/2012/main">
        <p15:guide id="2" pos="4974" userDrawn="1">
          <p15:clr>
            <a:srgbClr val="A4A3A4"/>
          </p15:clr>
        </p15:guide>
        <p15:guide id="3" pos="756" userDrawn="1">
          <p15:clr>
            <a:srgbClr val="A4A3A4"/>
          </p15:clr>
        </p15:guide>
        <p15:guide id="5" pos="2434" userDrawn="1">
          <p15:clr>
            <a:srgbClr val="A4A3A4"/>
          </p15:clr>
        </p15:guide>
        <p15:guide id="9" orient="horz" pos="4178" userDrawn="1">
          <p15:clr>
            <a:srgbClr val="A4A3A4"/>
          </p15:clr>
        </p15:guide>
        <p15:guide id="12" pos="5722" userDrawn="1">
          <p15:clr>
            <a:srgbClr val="A4A3A4"/>
          </p15:clr>
        </p15:guide>
        <p15:guide id="13" pos="7265" userDrawn="1">
          <p15:clr>
            <a:srgbClr val="A4A3A4"/>
          </p15:clr>
        </p15:guide>
        <p15:guide id="14" pos="7015" userDrawn="1">
          <p15:clr>
            <a:srgbClr val="A4A3A4"/>
          </p15:clr>
        </p15:guide>
        <p15:guide id="15" pos="1776" userDrawn="1">
          <p15:clr>
            <a:srgbClr val="A4A3A4"/>
          </p15:clr>
        </p15:guide>
        <p15:guide id="16" pos="1323" userDrawn="1">
          <p15:clr>
            <a:srgbClr val="A4A3A4"/>
          </p15:clr>
        </p15:guide>
        <p15:guide id="17" pos="5858" userDrawn="1">
          <p15:clr>
            <a:srgbClr val="A4A3A4"/>
          </p15:clr>
        </p15:guide>
        <p15:guide id="21" orient="horz" pos="3135" userDrawn="1">
          <p15:clr>
            <a:srgbClr val="A4A3A4"/>
          </p15:clr>
        </p15:guide>
        <p15:guide id="22" orient="horz" pos="3702" userDrawn="1">
          <p15:clr>
            <a:srgbClr val="A4A3A4"/>
          </p15:clr>
        </p15:guide>
        <p15:guide id="25" pos="5813" userDrawn="1">
          <p15:clr>
            <a:srgbClr val="A4A3A4"/>
          </p15:clr>
        </p15:guide>
        <p15:guide id="27" orient="horz" pos="1275" userDrawn="1">
          <p15:clr>
            <a:srgbClr val="A4A3A4"/>
          </p15:clr>
        </p15:guide>
        <p15:guide id="28" orient="horz" pos="3906" userDrawn="1">
          <p15:clr>
            <a:srgbClr val="A4A3A4"/>
          </p15:clr>
        </p15:guide>
        <p15:guide id="30" pos="5178" userDrawn="1">
          <p15:clr>
            <a:srgbClr val="A4A3A4"/>
          </p15:clr>
        </p15:guide>
        <p15:guide id="32" orient="horz" pos="346" userDrawn="1">
          <p15:clr>
            <a:srgbClr val="A4A3A4"/>
          </p15:clr>
        </p15:guide>
        <p15:guide id="33" orient="horz" pos="4315" userDrawn="1">
          <p15:clr>
            <a:srgbClr val="A4A3A4"/>
          </p15:clr>
        </p15:guide>
        <p15:guide id="34" pos="3840" userDrawn="1">
          <p15:clr>
            <a:srgbClr val="A4A3A4"/>
          </p15:clr>
        </p15:guide>
        <p15:guide id="35" orient="horz" pos="3838" userDrawn="1">
          <p15:clr>
            <a:srgbClr val="A4A3A4"/>
          </p15:clr>
        </p15:guide>
        <p15:guide id="36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hnny Gunneng" initials="JG" lastIdx="1" clrIdx="0">
    <p:extLst>
      <p:ext uri="{19B8F6BF-5375-455C-9EA6-DF929625EA0E}">
        <p15:presenceInfo xmlns:p15="http://schemas.microsoft.com/office/powerpoint/2012/main" userId="3485556cbf8fea92" providerId="Windows Live"/>
      </p:ext>
    </p:extLst>
  </p:cmAuthor>
  <p:cmAuthor id="2" name="Borgar Ljosland" initials="BL" lastIdx="7" clrIdx="1">
    <p:extLst>
      <p:ext uri="{19B8F6BF-5375-455C-9EA6-DF929625EA0E}">
        <p15:presenceInfo xmlns:p15="http://schemas.microsoft.com/office/powerpoint/2012/main" userId="S::borgar_proventure.no#ext#@infotiles.no::207dca18-f792-4b9c-823f-cc19ef5f4002" providerId="AD"/>
      </p:ext>
    </p:extLst>
  </p:cmAuthor>
  <p:cmAuthor id="3" name="Magne Eide" initials="ME" lastIdx="3" clrIdx="2">
    <p:extLst>
      <p:ext uri="{19B8F6BF-5375-455C-9EA6-DF929625EA0E}">
        <p15:presenceInfo xmlns:p15="http://schemas.microsoft.com/office/powerpoint/2012/main" userId="Magne Eid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C9FC"/>
    <a:srgbClr val="2D97D3"/>
    <a:srgbClr val="00AED9"/>
    <a:srgbClr val="ED5224"/>
    <a:srgbClr val="FFB72C"/>
    <a:srgbClr val="007DBC"/>
    <a:srgbClr val="7FBB0A"/>
    <a:srgbClr val="70AE3E"/>
    <a:srgbClr val="FFFFFF"/>
    <a:srgbClr val="0039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E2766B-150D-4730-BF16-CDDF6F757E0E}" v="99" dt="2022-10-18T19:38:56.2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9848" autoAdjust="0"/>
  </p:normalViewPr>
  <p:slideViewPr>
    <p:cSldViewPr snapToGrid="0" showGuides="1">
      <p:cViewPr varScale="1">
        <p:scale>
          <a:sx n="51" d="100"/>
          <a:sy n="51" d="100"/>
        </p:scale>
        <p:origin x="1800" y="34"/>
      </p:cViewPr>
      <p:guideLst>
        <p:guide pos="4974"/>
        <p:guide pos="756"/>
        <p:guide pos="2434"/>
        <p:guide orient="horz" pos="4178"/>
        <p:guide pos="5722"/>
        <p:guide pos="7265"/>
        <p:guide pos="7015"/>
        <p:guide pos="1776"/>
        <p:guide pos="1323"/>
        <p:guide pos="5858"/>
        <p:guide orient="horz" pos="3135"/>
        <p:guide orient="horz" pos="3702"/>
        <p:guide pos="5813"/>
        <p:guide orient="horz" pos="1275"/>
        <p:guide orient="horz" pos="3906"/>
        <p:guide pos="5178"/>
        <p:guide orient="horz" pos="346"/>
        <p:guide orient="horz" pos="4315"/>
        <p:guide pos="3840"/>
        <p:guide orient="horz" pos="3838"/>
        <p:guide orient="horz" pos="36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hnny Gunneng" userId="df559fc9-3016-4f36-b4b3-58e7b0650935" providerId="ADAL" clId="{3FE2766B-150D-4730-BF16-CDDF6F757E0E}"/>
    <pc:docChg chg="undo custSel addSld delSld modSld sldOrd modSection">
      <pc:chgData name="Johnny Gunneng" userId="df559fc9-3016-4f36-b4b3-58e7b0650935" providerId="ADAL" clId="{3FE2766B-150D-4730-BF16-CDDF6F757E0E}" dt="2022-10-18T19:42:14.799" v="739" actId="1076"/>
      <pc:docMkLst>
        <pc:docMk/>
      </pc:docMkLst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2554490416" sldId="785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3239166804" sldId="940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1464880719" sldId="1050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2801255075" sldId="1054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545941059" sldId="1073"/>
        </pc:sldMkLst>
      </pc:sldChg>
      <pc:sldChg chg="modSp add del mod">
        <pc:chgData name="Johnny Gunneng" userId="df559fc9-3016-4f36-b4b3-58e7b0650935" providerId="ADAL" clId="{3FE2766B-150D-4730-BF16-CDDF6F757E0E}" dt="2022-10-18T18:55:25.318" v="21" actId="47"/>
        <pc:sldMkLst>
          <pc:docMk/>
          <pc:sldMk cId="1401598600" sldId="1104"/>
        </pc:sldMkLst>
        <pc:spChg chg="mod">
          <ac:chgData name="Johnny Gunneng" userId="df559fc9-3016-4f36-b4b3-58e7b0650935" providerId="ADAL" clId="{3FE2766B-150D-4730-BF16-CDDF6F757E0E}" dt="2022-10-18T18:51:41.956" v="2" actId="403"/>
          <ac:spMkLst>
            <pc:docMk/>
            <pc:sldMk cId="1401598600" sldId="1104"/>
            <ac:spMk id="3" creationId="{F2EE5FD4-CD95-4552-9F8A-2080EA69BAED}"/>
          </ac:spMkLst>
        </pc:spChg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1044701402" sldId="1105"/>
        </pc:sldMkLst>
      </pc:sldChg>
      <pc:sldChg chg="mod modShow">
        <pc:chgData name="Johnny Gunneng" userId="df559fc9-3016-4f36-b4b3-58e7b0650935" providerId="ADAL" clId="{3FE2766B-150D-4730-BF16-CDDF6F757E0E}" dt="2022-10-18T18:52:42.184" v="20" actId="729"/>
        <pc:sldMkLst>
          <pc:docMk/>
          <pc:sldMk cId="2860417553" sldId="1153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1985488806" sldId="1224"/>
        </pc:sldMkLst>
      </pc:sldChg>
      <pc:sldChg chg="modSp del mod ord">
        <pc:chgData name="Johnny Gunneng" userId="df559fc9-3016-4f36-b4b3-58e7b0650935" providerId="ADAL" clId="{3FE2766B-150D-4730-BF16-CDDF6F757E0E}" dt="2022-10-18T19:40:17.651" v="710" actId="47"/>
        <pc:sldMkLst>
          <pc:docMk/>
          <pc:sldMk cId="680267907" sldId="1253"/>
        </pc:sldMkLst>
        <pc:spChg chg="mod">
          <ac:chgData name="Johnny Gunneng" userId="df559fc9-3016-4f36-b4b3-58e7b0650935" providerId="ADAL" clId="{3FE2766B-150D-4730-BF16-CDDF6F757E0E}" dt="2022-10-18T19:03:05.727" v="294" actId="2711"/>
          <ac:spMkLst>
            <pc:docMk/>
            <pc:sldMk cId="680267907" sldId="1253"/>
            <ac:spMk id="7" creationId="{DCAEF62E-124A-6902-9FC9-B9D55E451365}"/>
          </ac:spMkLst>
        </pc:spChg>
        <pc:spChg chg="mod">
          <ac:chgData name="Johnny Gunneng" userId="df559fc9-3016-4f36-b4b3-58e7b0650935" providerId="ADAL" clId="{3FE2766B-150D-4730-BF16-CDDF6F757E0E}" dt="2022-10-18T19:03:05.727" v="294" actId="2711"/>
          <ac:spMkLst>
            <pc:docMk/>
            <pc:sldMk cId="680267907" sldId="1253"/>
            <ac:spMk id="8" creationId="{66D29C27-8B22-504E-C903-2CD8887FDB89}"/>
          </ac:spMkLst>
        </pc:spChg>
        <pc:spChg chg="mod">
          <ac:chgData name="Johnny Gunneng" userId="df559fc9-3016-4f36-b4b3-58e7b0650935" providerId="ADAL" clId="{3FE2766B-150D-4730-BF16-CDDF6F757E0E}" dt="2022-10-18T19:03:05.727" v="294" actId="2711"/>
          <ac:spMkLst>
            <pc:docMk/>
            <pc:sldMk cId="680267907" sldId="1253"/>
            <ac:spMk id="9" creationId="{447DE092-2E1E-2FAD-8DA6-B17891F2C2D3}"/>
          </ac:spMkLst>
        </pc:spChg>
        <pc:spChg chg="mod">
          <ac:chgData name="Johnny Gunneng" userId="df559fc9-3016-4f36-b4b3-58e7b0650935" providerId="ADAL" clId="{3FE2766B-150D-4730-BF16-CDDF6F757E0E}" dt="2022-10-18T19:03:05.727" v="294" actId="2711"/>
          <ac:spMkLst>
            <pc:docMk/>
            <pc:sldMk cId="680267907" sldId="1253"/>
            <ac:spMk id="10" creationId="{B2C6AAF7-EE1E-5077-37E6-F5D32DE46E0C}"/>
          </ac:spMkLst>
        </pc:spChg>
        <pc:spChg chg="mod">
          <ac:chgData name="Johnny Gunneng" userId="df559fc9-3016-4f36-b4b3-58e7b0650935" providerId="ADAL" clId="{3FE2766B-150D-4730-BF16-CDDF6F757E0E}" dt="2022-10-18T19:03:05.727" v="294" actId="2711"/>
          <ac:spMkLst>
            <pc:docMk/>
            <pc:sldMk cId="680267907" sldId="1253"/>
            <ac:spMk id="11" creationId="{8CD03DCC-2C0A-CA50-C4DC-9575DCDAA525}"/>
          </ac:spMkLst>
        </pc:spChg>
        <pc:spChg chg="mod">
          <ac:chgData name="Johnny Gunneng" userId="df559fc9-3016-4f36-b4b3-58e7b0650935" providerId="ADAL" clId="{3FE2766B-150D-4730-BF16-CDDF6F757E0E}" dt="2022-10-18T19:03:05.727" v="294" actId="2711"/>
          <ac:spMkLst>
            <pc:docMk/>
            <pc:sldMk cId="680267907" sldId="1253"/>
            <ac:spMk id="12" creationId="{794B86D3-751E-9F31-6A22-B832F3BC802D}"/>
          </ac:spMkLst>
        </pc:spChg>
        <pc:spChg chg="mod">
          <ac:chgData name="Johnny Gunneng" userId="df559fc9-3016-4f36-b4b3-58e7b0650935" providerId="ADAL" clId="{3FE2766B-150D-4730-BF16-CDDF6F757E0E}" dt="2022-10-18T19:03:05.727" v="294" actId="2711"/>
          <ac:spMkLst>
            <pc:docMk/>
            <pc:sldMk cId="680267907" sldId="1253"/>
            <ac:spMk id="13" creationId="{F5827F4B-74E3-E34D-AA16-05624C4B5553}"/>
          </ac:spMkLst>
        </pc:spChg>
        <pc:spChg chg="mod">
          <ac:chgData name="Johnny Gunneng" userId="df559fc9-3016-4f36-b4b3-58e7b0650935" providerId="ADAL" clId="{3FE2766B-150D-4730-BF16-CDDF6F757E0E}" dt="2022-10-18T19:03:05.727" v="294" actId="2711"/>
          <ac:spMkLst>
            <pc:docMk/>
            <pc:sldMk cId="680267907" sldId="1253"/>
            <ac:spMk id="14" creationId="{6D417ED7-FDF7-E6E6-5187-CA0A0D24EAAF}"/>
          </ac:spMkLst>
        </pc:spChg>
        <pc:picChg chg="mod">
          <ac:chgData name="Johnny Gunneng" userId="df559fc9-3016-4f36-b4b3-58e7b0650935" providerId="ADAL" clId="{3FE2766B-150D-4730-BF16-CDDF6F757E0E}" dt="2022-10-18T19:03:05.727" v="294" actId="2711"/>
          <ac:picMkLst>
            <pc:docMk/>
            <pc:sldMk cId="680267907" sldId="1253"/>
            <ac:picMk id="2" creationId="{C70A994A-8CBE-3B1D-13A2-D597E649BE06}"/>
          </ac:picMkLst>
        </pc:picChg>
        <pc:picChg chg="mod">
          <ac:chgData name="Johnny Gunneng" userId="df559fc9-3016-4f36-b4b3-58e7b0650935" providerId="ADAL" clId="{3FE2766B-150D-4730-BF16-CDDF6F757E0E}" dt="2022-10-18T19:03:05.727" v="294" actId="2711"/>
          <ac:picMkLst>
            <pc:docMk/>
            <pc:sldMk cId="680267907" sldId="1253"/>
            <ac:picMk id="15" creationId="{58D1CA15-AF90-C0BC-B23D-605D74E3B0FC}"/>
          </ac:picMkLst>
        </pc:picChg>
        <pc:picChg chg="mod">
          <ac:chgData name="Johnny Gunneng" userId="df559fc9-3016-4f36-b4b3-58e7b0650935" providerId="ADAL" clId="{3FE2766B-150D-4730-BF16-CDDF6F757E0E}" dt="2022-10-18T19:03:05.727" v="294" actId="2711"/>
          <ac:picMkLst>
            <pc:docMk/>
            <pc:sldMk cId="680267907" sldId="1253"/>
            <ac:picMk id="16" creationId="{4464BD2E-E052-CB40-FCD9-AA3286F89E3E}"/>
          </ac:picMkLst>
        </pc:picChg>
        <pc:picChg chg="mod">
          <ac:chgData name="Johnny Gunneng" userId="df559fc9-3016-4f36-b4b3-58e7b0650935" providerId="ADAL" clId="{3FE2766B-150D-4730-BF16-CDDF6F757E0E}" dt="2022-10-18T19:03:05.727" v="294" actId="2711"/>
          <ac:picMkLst>
            <pc:docMk/>
            <pc:sldMk cId="680267907" sldId="1253"/>
            <ac:picMk id="17" creationId="{E9BFE97E-5866-F6F0-91F7-39D44414B747}"/>
          </ac:picMkLst>
        </pc:picChg>
        <pc:picChg chg="mod">
          <ac:chgData name="Johnny Gunneng" userId="df559fc9-3016-4f36-b4b3-58e7b0650935" providerId="ADAL" clId="{3FE2766B-150D-4730-BF16-CDDF6F757E0E}" dt="2022-10-18T19:03:05.727" v="294" actId="2711"/>
          <ac:picMkLst>
            <pc:docMk/>
            <pc:sldMk cId="680267907" sldId="1253"/>
            <ac:picMk id="19" creationId="{38E70503-F1D6-CF7F-9E0C-0C1C6F1DA368}"/>
          </ac:picMkLst>
        </pc:picChg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2768783383" sldId="1254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2314600424" sldId="10400"/>
        </pc:sldMkLst>
      </pc:sldChg>
      <pc:sldChg chg="add del">
        <pc:chgData name="Johnny Gunneng" userId="df559fc9-3016-4f36-b4b3-58e7b0650935" providerId="ADAL" clId="{3FE2766B-150D-4730-BF16-CDDF6F757E0E}" dt="2022-10-18T18:52:21.652" v="14" actId="47"/>
        <pc:sldMkLst>
          <pc:docMk/>
          <pc:sldMk cId="4239884834" sldId="10406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779504429" sldId="10407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2704845270" sldId="10408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967417757" sldId="10410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2588886441" sldId="10421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2391813808" sldId="10438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2316275863" sldId="10444"/>
        </pc:sldMkLst>
      </pc:sldChg>
      <pc:sldChg chg="addSp delSp modSp mod ord modNotesTx">
        <pc:chgData name="Johnny Gunneng" userId="df559fc9-3016-4f36-b4b3-58e7b0650935" providerId="ADAL" clId="{3FE2766B-150D-4730-BF16-CDDF6F757E0E}" dt="2022-10-18T19:42:14.799" v="739" actId="1076"/>
        <pc:sldMkLst>
          <pc:docMk/>
          <pc:sldMk cId="354123231" sldId="10452"/>
        </pc:sldMkLst>
        <pc:picChg chg="del">
          <ac:chgData name="Johnny Gunneng" userId="df559fc9-3016-4f36-b4b3-58e7b0650935" providerId="ADAL" clId="{3FE2766B-150D-4730-BF16-CDDF6F757E0E}" dt="2022-10-18T18:56:16.312" v="24" actId="478"/>
          <ac:picMkLst>
            <pc:docMk/>
            <pc:sldMk cId="354123231" sldId="10452"/>
            <ac:picMk id="3" creationId="{B12A4FDF-0974-1306-0AA4-63EA6029B700}"/>
          </ac:picMkLst>
        </pc:picChg>
        <pc:picChg chg="mod">
          <ac:chgData name="Johnny Gunneng" userId="df559fc9-3016-4f36-b4b3-58e7b0650935" providerId="ADAL" clId="{3FE2766B-150D-4730-BF16-CDDF6F757E0E}" dt="2022-10-18T19:07:53.394" v="300" actId="1076"/>
          <ac:picMkLst>
            <pc:docMk/>
            <pc:sldMk cId="354123231" sldId="10452"/>
            <ac:picMk id="4" creationId="{F8F20A7F-9B79-9F7B-EA55-96BE5EFA24AC}"/>
          </ac:picMkLst>
        </pc:picChg>
        <pc:picChg chg="add mod">
          <ac:chgData name="Johnny Gunneng" userId="df559fc9-3016-4f36-b4b3-58e7b0650935" providerId="ADAL" clId="{3FE2766B-150D-4730-BF16-CDDF6F757E0E}" dt="2022-10-18T19:42:14.799" v="739" actId="1076"/>
          <ac:picMkLst>
            <pc:docMk/>
            <pc:sldMk cId="354123231" sldId="10452"/>
            <ac:picMk id="5" creationId="{EC5D1E81-ACD1-8D6E-76F3-C30B64B7F7F8}"/>
          </ac:picMkLst>
        </pc:picChg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392006185" sldId="10456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2581033713" sldId="10457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3085009814" sldId="10458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1904048050" sldId="10459"/>
        </pc:sldMkLst>
      </pc:sldChg>
      <pc:sldChg chg="add del">
        <pc:chgData name="Johnny Gunneng" userId="df559fc9-3016-4f36-b4b3-58e7b0650935" providerId="ADAL" clId="{3FE2766B-150D-4730-BF16-CDDF6F757E0E}" dt="2022-10-18T18:51:44.171" v="3" actId="47"/>
        <pc:sldMkLst>
          <pc:docMk/>
          <pc:sldMk cId="1649846918" sldId="10460"/>
        </pc:sldMkLst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2647277077" sldId="10461"/>
        </pc:sldMkLst>
      </pc:sldChg>
      <pc:sldChg chg="modSp mod">
        <pc:chgData name="Johnny Gunneng" userId="df559fc9-3016-4f36-b4b3-58e7b0650935" providerId="ADAL" clId="{3FE2766B-150D-4730-BF16-CDDF6F757E0E}" dt="2022-10-18T19:41:16.636" v="736" actId="20577"/>
        <pc:sldMkLst>
          <pc:docMk/>
          <pc:sldMk cId="3431200813" sldId="10462"/>
        </pc:sldMkLst>
        <pc:spChg chg="mod">
          <ac:chgData name="Johnny Gunneng" userId="df559fc9-3016-4f36-b4b3-58e7b0650935" providerId="ADAL" clId="{3FE2766B-150D-4730-BF16-CDDF6F757E0E}" dt="2022-10-18T19:41:16.636" v="736" actId="20577"/>
          <ac:spMkLst>
            <pc:docMk/>
            <pc:sldMk cId="3431200813" sldId="10462"/>
            <ac:spMk id="5" creationId="{8A51B925-5D78-B629-4B23-0349C9DE6077}"/>
          </ac:spMkLst>
        </pc:spChg>
      </pc:sldChg>
      <pc:sldChg chg="add del">
        <pc:chgData name="Johnny Gunneng" userId="df559fc9-3016-4f36-b4b3-58e7b0650935" providerId="ADAL" clId="{3FE2766B-150D-4730-BF16-CDDF6F757E0E}" dt="2022-10-18T18:52:21.652" v="14" actId="47"/>
        <pc:sldMkLst>
          <pc:docMk/>
          <pc:sldMk cId="2950691891" sldId="10463"/>
        </pc:sldMkLst>
      </pc:sldChg>
      <pc:sldChg chg="addSp delSp modSp add del mod">
        <pc:chgData name="Johnny Gunneng" userId="df559fc9-3016-4f36-b4b3-58e7b0650935" providerId="ADAL" clId="{3FE2766B-150D-4730-BF16-CDDF6F757E0E}" dt="2022-10-18T19:40:20.478" v="711" actId="47"/>
        <pc:sldMkLst>
          <pc:docMk/>
          <pc:sldMk cId="3935816050" sldId="10465"/>
        </pc:sldMkLst>
        <pc:spChg chg="mod">
          <ac:chgData name="Johnny Gunneng" userId="df559fc9-3016-4f36-b4b3-58e7b0650935" providerId="ADAL" clId="{3FE2766B-150D-4730-BF16-CDDF6F757E0E}" dt="2022-10-18T19:03:18.314" v="296" actId="2711"/>
          <ac:spMkLst>
            <pc:docMk/>
            <pc:sldMk cId="3935816050" sldId="10465"/>
            <ac:spMk id="2" creationId="{0B6C5BB0-1C98-F77F-0A5C-E8BA346B3B66}"/>
          </ac:spMkLst>
        </pc:spChg>
        <pc:spChg chg="del mod">
          <ac:chgData name="Johnny Gunneng" userId="df559fc9-3016-4f36-b4b3-58e7b0650935" providerId="ADAL" clId="{3FE2766B-150D-4730-BF16-CDDF6F757E0E}" dt="2022-10-18T19:03:12.557" v="295" actId="478"/>
          <ac:spMkLst>
            <pc:docMk/>
            <pc:sldMk cId="3935816050" sldId="10465"/>
            <ac:spMk id="3" creationId="{16067AEE-D405-3720-0757-3B2FE2047EE4}"/>
          </ac:spMkLst>
        </pc:spChg>
        <pc:spChg chg="del mod">
          <ac:chgData name="Johnny Gunneng" userId="df559fc9-3016-4f36-b4b3-58e7b0650935" providerId="ADAL" clId="{3FE2766B-150D-4730-BF16-CDDF6F757E0E}" dt="2022-10-18T19:03:12.557" v="295" actId="478"/>
          <ac:spMkLst>
            <pc:docMk/>
            <pc:sldMk cId="3935816050" sldId="10465"/>
            <ac:spMk id="4" creationId="{249CCE0F-DB9F-258B-12FA-490AF99E2183}"/>
          </ac:spMkLst>
        </pc:spChg>
        <pc:spChg chg="del mod">
          <ac:chgData name="Johnny Gunneng" userId="df559fc9-3016-4f36-b4b3-58e7b0650935" providerId="ADAL" clId="{3FE2766B-150D-4730-BF16-CDDF6F757E0E}" dt="2022-10-18T19:03:12.557" v="295" actId="478"/>
          <ac:spMkLst>
            <pc:docMk/>
            <pc:sldMk cId="3935816050" sldId="10465"/>
            <ac:spMk id="5" creationId="{29AA6D35-C16B-9420-3A6D-4A0BC74255A4}"/>
          </ac:spMkLst>
        </pc:spChg>
        <pc:spChg chg="add mod">
          <ac:chgData name="Johnny Gunneng" userId="df559fc9-3016-4f36-b4b3-58e7b0650935" providerId="ADAL" clId="{3FE2766B-150D-4730-BF16-CDDF6F757E0E}" dt="2022-10-18T19:03:18.314" v="296" actId="2711"/>
          <ac:spMkLst>
            <pc:docMk/>
            <pc:sldMk cId="3935816050" sldId="10465"/>
            <ac:spMk id="6" creationId="{7DA24BBA-57EB-0310-9E9B-7F326ECF6FF0}"/>
          </ac:spMkLst>
        </pc:spChg>
        <pc:spChg chg="del mod">
          <ac:chgData name="Johnny Gunneng" userId="df559fc9-3016-4f36-b4b3-58e7b0650935" providerId="ADAL" clId="{3FE2766B-150D-4730-BF16-CDDF6F757E0E}" dt="2022-10-18T18:59:19.453" v="89" actId="478"/>
          <ac:spMkLst>
            <pc:docMk/>
            <pc:sldMk cId="3935816050" sldId="10465"/>
            <ac:spMk id="8" creationId="{67F3000F-6C9F-42CA-9598-05AC11E91265}"/>
          </ac:spMkLst>
        </pc:spChg>
        <pc:spChg chg="del mod">
          <ac:chgData name="Johnny Gunneng" userId="df559fc9-3016-4f36-b4b3-58e7b0650935" providerId="ADAL" clId="{3FE2766B-150D-4730-BF16-CDDF6F757E0E}" dt="2022-10-18T18:59:19.453" v="89" actId="478"/>
          <ac:spMkLst>
            <pc:docMk/>
            <pc:sldMk cId="3935816050" sldId="10465"/>
            <ac:spMk id="9" creationId="{8ECDDF84-CE92-5FDD-DE91-751F10C4D5DF}"/>
          </ac:spMkLst>
        </pc:spChg>
        <pc:spChg chg="add mod">
          <ac:chgData name="Johnny Gunneng" userId="df559fc9-3016-4f36-b4b3-58e7b0650935" providerId="ADAL" clId="{3FE2766B-150D-4730-BF16-CDDF6F757E0E}" dt="2022-10-18T19:03:18.314" v="296" actId="2711"/>
          <ac:spMkLst>
            <pc:docMk/>
            <pc:sldMk cId="3935816050" sldId="10465"/>
            <ac:spMk id="10" creationId="{6D745822-DF82-A8B1-AA85-B0250ADA4D11}"/>
          </ac:spMkLst>
        </pc:spChg>
        <pc:spChg chg="del mod">
          <ac:chgData name="Johnny Gunneng" userId="df559fc9-3016-4f36-b4b3-58e7b0650935" providerId="ADAL" clId="{3FE2766B-150D-4730-BF16-CDDF6F757E0E}" dt="2022-10-18T18:59:19.453" v="89" actId="478"/>
          <ac:spMkLst>
            <pc:docMk/>
            <pc:sldMk cId="3935816050" sldId="10465"/>
            <ac:spMk id="11" creationId="{44D7672D-21F5-AA22-75F1-497EBED7A9FB}"/>
          </ac:spMkLst>
        </pc:spChg>
        <pc:spChg chg="add mod">
          <ac:chgData name="Johnny Gunneng" userId="df559fc9-3016-4f36-b4b3-58e7b0650935" providerId="ADAL" clId="{3FE2766B-150D-4730-BF16-CDDF6F757E0E}" dt="2022-10-18T19:03:18.314" v="296" actId="2711"/>
          <ac:spMkLst>
            <pc:docMk/>
            <pc:sldMk cId="3935816050" sldId="10465"/>
            <ac:spMk id="13" creationId="{9E26648D-CFD3-2D07-EA76-98976F504C1A}"/>
          </ac:spMkLst>
        </pc:spChg>
        <pc:spChg chg="add mod">
          <ac:chgData name="Johnny Gunneng" userId="df559fc9-3016-4f36-b4b3-58e7b0650935" providerId="ADAL" clId="{3FE2766B-150D-4730-BF16-CDDF6F757E0E}" dt="2022-10-18T19:07:29.148" v="297" actId="403"/>
          <ac:spMkLst>
            <pc:docMk/>
            <pc:sldMk cId="3935816050" sldId="10465"/>
            <ac:spMk id="14" creationId="{33C920C0-060C-AFC1-EF73-38FC326ECB56}"/>
          </ac:spMkLst>
        </pc:spChg>
        <pc:picChg chg="mod">
          <ac:chgData name="Johnny Gunneng" userId="df559fc9-3016-4f36-b4b3-58e7b0650935" providerId="ADAL" clId="{3FE2766B-150D-4730-BF16-CDDF6F757E0E}" dt="2022-10-18T19:01:12.653" v="256" actId="1036"/>
          <ac:picMkLst>
            <pc:docMk/>
            <pc:sldMk cId="3935816050" sldId="10465"/>
            <ac:picMk id="7" creationId="{D00AAF35-FFCD-7DFE-F9D9-B6F3EC9F3C58}"/>
          </ac:picMkLst>
        </pc:picChg>
        <pc:picChg chg="mod">
          <ac:chgData name="Johnny Gunneng" userId="df559fc9-3016-4f36-b4b3-58e7b0650935" providerId="ADAL" clId="{3FE2766B-150D-4730-BF16-CDDF6F757E0E}" dt="2022-10-18T19:01:12.653" v="256" actId="1036"/>
          <ac:picMkLst>
            <pc:docMk/>
            <pc:sldMk cId="3935816050" sldId="10465"/>
            <ac:picMk id="12" creationId="{60B2A30B-7D5A-FC08-4FC1-B7F1074701BF}"/>
          </ac:picMkLst>
        </pc:picChg>
        <pc:picChg chg="mod">
          <ac:chgData name="Johnny Gunneng" userId="df559fc9-3016-4f36-b4b3-58e7b0650935" providerId="ADAL" clId="{3FE2766B-150D-4730-BF16-CDDF6F757E0E}" dt="2022-10-18T19:01:12.653" v="256" actId="1036"/>
          <ac:picMkLst>
            <pc:docMk/>
            <pc:sldMk cId="3935816050" sldId="10465"/>
            <ac:picMk id="16" creationId="{3D03EA22-BCEB-5B6C-D797-A53027EF0AA3}"/>
          </ac:picMkLst>
        </pc:picChg>
      </pc:sldChg>
      <pc:sldChg chg="del">
        <pc:chgData name="Johnny Gunneng" userId="df559fc9-3016-4f36-b4b3-58e7b0650935" providerId="ADAL" clId="{3FE2766B-150D-4730-BF16-CDDF6F757E0E}" dt="2022-10-18T18:52:39.901" v="19" actId="47"/>
        <pc:sldMkLst>
          <pc:docMk/>
          <pc:sldMk cId="2219177925" sldId="10466"/>
        </pc:sldMkLst>
      </pc:sldChg>
      <pc:sldChg chg="addSp modSp add mod">
        <pc:chgData name="Johnny Gunneng" userId="df559fc9-3016-4f36-b4b3-58e7b0650935" providerId="ADAL" clId="{3FE2766B-150D-4730-BF16-CDDF6F757E0E}" dt="2022-10-18T19:39:03.558" v="709" actId="554"/>
        <pc:sldMkLst>
          <pc:docMk/>
          <pc:sldMk cId="3893755673" sldId="10466"/>
        </pc:sldMkLst>
        <pc:spChg chg="add mod">
          <ac:chgData name="Johnny Gunneng" userId="df559fc9-3016-4f36-b4b3-58e7b0650935" providerId="ADAL" clId="{3FE2766B-150D-4730-BF16-CDDF6F757E0E}" dt="2022-10-18T19:38:56.245" v="708" actId="1036"/>
          <ac:spMkLst>
            <pc:docMk/>
            <pc:sldMk cId="3893755673" sldId="10466"/>
            <ac:spMk id="3" creationId="{387B199C-D6E1-83BB-F0B3-B26FD885F9F5}"/>
          </ac:spMkLst>
        </pc:spChg>
        <pc:spChg chg="add mod">
          <ac:chgData name="Johnny Gunneng" userId="df559fc9-3016-4f36-b4b3-58e7b0650935" providerId="ADAL" clId="{3FE2766B-150D-4730-BF16-CDDF6F757E0E}" dt="2022-10-18T19:38:56.245" v="708" actId="1036"/>
          <ac:spMkLst>
            <pc:docMk/>
            <pc:sldMk cId="3893755673" sldId="10466"/>
            <ac:spMk id="4" creationId="{D24338F1-D325-4D2F-CF1F-D288D3B58A47}"/>
          </ac:spMkLst>
        </pc:spChg>
        <pc:spChg chg="add mod">
          <ac:chgData name="Johnny Gunneng" userId="df559fc9-3016-4f36-b4b3-58e7b0650935" providerId="ADAL" clId="{3FE2766B-150D-4730-BF16-CDDF6F757E0E}" dt="2022-10-18T19:38:56.245" v="708" actId="1036"/>
          <ac:spMkLst>
            <pc:docMk/>
            <pc:sldMk cId="3893755673" sldId="10466"/>
            <ac:spMk id="5" creationId="{46BBB14A-1788-1A00-FEBC-998DC4AFCA72}"/>
          </ac:spMkLst>
        </pc:spChg>
        <pc:spChg chg="mod">
          <ac:chgData name="Johnny Gunneng" userId="df559fc9-3016-4f36-b4b3-58e7b0650935" providerId="ADAL" clId="{3FE2766B-150D-4730-BF16-CDDF6F757E0E}" dt="2022-10-18T19:38:26.126" v="668" actId="1038"/>
          <ac:spMkLst>
            <pc:docMk/>
            <pc:sldMk cId="3893755673" sldId="10466"/>
            <ac:spMk id="6" creationId="{7DA24BBA-57EB-0310-9E9B-7F326ECF6FF0}"/>
          </ac:spMkLst>
        </pc:spChg>
        <pc:spChg chg="add mod">
          <ac:chgData name="Johnny Gunneng" userId="df559fc9-3016-4f36-b4b3-58e7b0650935" providerId="ADAL" clId="{3FE2766B-150D-4730-BF16-CDDF6F757E0E}" dt="2022-10-18T19:38:56.245" v="708" actId="1036"/>
          <ac:spMkLst>
            <pc:docMk/>
            <pc:sldMk cId="3893755673" sldId="10466"/>
            <ac:spMk id="8" creationId="{CE011F88-EE0C-C043-BA5C-6FFDDB77CF07}"/>
          </ac:spMkLst>
        </pc:spChg>
        <pc:spChg chg="mod">
          <ac:chgData name="Johnny Gunneng" userId="df559fc9-3016-4f36-b4b3-58e7b0650935" providerId="ADAL" clId="{3FE2766B-150D-4730-BF16-CDDF6F757E0E}" dt="2022-10-18T19:37:03.433" v="594" actId="408"/>
          <ac:spMkLst>
            <pc:docMk/>
            <pc:sldMk cId="3893755673" sldId="10466"/>
            <ac:spMk id="10" creationId="{6D745822-DF82-A8B1-AA85-B0250ADA4D11}"/>
          </ac:spMkLst>
        </pc:spChg>
        <pc:spChg chg="mod">
          <ac:chgData name="Johnny Gunneng" userId="df559fc9-3016-4f36-b4b3-58e7b0650935" providerId="ADAL" clId="{3FE2766B-150D-4730-BF16-CDDF6F757E0E}" dt="2022-10-18T19:38:31.352" v="697" actId="1037"/>
          <ac:spMkLst>
            <pc:docMk/>
            <pc:sldMk cId="3893755673" sldId="10466"/>
            <ac:spMk id="13" creationId="{9E26648D-CFD3-2D07-EA76-98976F504C1A}"/>
          </ac:spMkLst>
        </pc:spChg>
        <pc:spChg chg="mod">
          <ac:chgData name="Johnny Gunneng" userId="df559fc9-3016-4f36-b4b3-58e7b0650935" providerId="ADAL" clId="{3FE2766B-150D-4730-BF16-CDDF6F757E0E}" dt="2022-10-18T19:38:49.472" v="701" actId="14100"/>
          <ac:spMkLst>
            <pc:docMk/>
            <pc:sldMk cId="3893755673" sldId="10466"/>
            <ac:spMk id="14" creationId="{33C920C0-060C-AFC1-EF73-38FC326ECB56}"/>
          </ac:spMkLst>
        </pc:spChg>
        <pc:picChg chg="mod">
          <ac:chgData name="Johnny Gunneng" userId="df559fc9-3016-4f36-b4b3-58e7b0650935" providerId="ADAL" clId="{3FE2766B-150D-4730-BF16-CDDF6F757E0E}" dt="2022-10-18T19:39:03.558" v="709" actId="554"/>
          <ac:picMkLst>
            <pc:docMk/>
            <pc:sldMk cId="3893755673" sldId="10466"/>
            <ac:picMk id="7" creationId="{D00AAF35-FFCD-7DFE-F9D9-B6F3EC9F3C58}"/>
          </ac:picMkLst>
        </pc:picChg>
        <pc:picChg chg="add mod">
          <ac:chgData name="Johnny Gunneng" userId="df559fc9-3016-4f36-b4b3-58e7b0650935" providerId="ADAL" clId="{3FE2766B-150D-4730-BF16-CDDF6F757E0E}" dt="2022-10-18T19:38:56.245" v="708" actId="1036"/>
          <ac:picMkLst>
            <pc:docMk/>
            <pc:sldMk cId="3893755673" sldId="10466"/>
            <ac:picMk id="9" creationId="{24C55C89-4BD8-B339-33E9-DAEB7B59830A}"/>
          </ac:picMkLst>
        </pc:picChg>
        <pc:picChg chg="add mod">
          <ac:chgData name="Johnny Gunneng" userId="df559fc9-3016-4f36-b4b3-58e7b0650935" providerId="ADAL" clId="{3FE2766B-150D-4730-BF16-CDDF6F757E0E}" dt="2022-10-18T19:38:56.245" v="708" actId="1036"/>
          <ac:picMkLst>
            <pc:docMk/>
            <pc:sldMk cId="3893755673" sldId="10466"/>
            <ac:picMk id="11" creationId="{979177BC-7D41-4E50-C589-D6AF20C33221}"/>
          </ac:picMkLst>
        </pc:picChg>
        <pc:picChg chg="mod">
          <ac:chgData name="Johnny Gunneng" userId="df559fc9-3016-4f36-b4b3-58e7b0650935" providerId="ADAL" clId="{3FE2766B-150D-4730-BF16-CDDF6F757E0E}" dt="2022-10-18T19:39:03.558" v="709" actId="554"/>
          <ac:picMkLst>
            <pc:docMk/>
            <pc:sldMk cId="3893755673" sldId="10466"/>
            <ac:picMk id="12" creationId="{60B2A30B-7D5A-FC08-4FC1-B7F1074701BF}"/>
          </ac:picMkLst>
        </pc:picChg>
        <pc:picChg chg="add mod">
          <ac:chgData name="Johnny Gunneng" userId="df559fc9-3016-4f36-b4b3-58e7b0650935" providerId="ADAL" clId="{3FE2766B-150D-4730-BF16-CDDF6F757E0E}" dt="2022-10-18T19:38:56.245" v="708" actId="1036"/>
          <ac:picMkLst>
            <pc:docMk/>
            <pc:sldMk cId="3893755673" sldId="10466"/>
            <ac:picMk id="15" creationId="{AE716E97-B70B-1E74-19F9-DFD41BF89E2D}"/>
          </ac:picMkLst>
        </pc:picChg>
        <pc:picChg chg="mod">
          <ac:chgData name="Johnny Gunneng" userId="df559fc9-3016-4f36-b4b3-58e7b0650935" providerId="ADAL" clId="{3FE2766B-150D-4730-BF16-CDDF6F757E0E}" dt="2022-10-18T19:39:03.558" v="709" actId="554"/>
          <ac:picMkLst>
            <pc:docMk/>
            <pc:sldMk cId="3893755673" sldId="10466"/>
            <ac:picMk id="16" creationId="{3D03EA22-BCEB-5B6C-D797-A53027EF0AA3}"/>
          </ac:picMkLst>
        </pc:picChg>
        <pc:picChg chg="add mod">
          <ac:chgData name="Johnny Gunneng" userId="df559fc9-3016-4f36-b4b3-58e7b0650935" providerId="ADAL" clId="{3FE2766B-150D-4730-BF16-CDDF6F757E0E}" dt="2022-10-18T19:38:56.245" v="708" actId="1036"/>
          <ac:picMkLst>
            <pc:docMk/>
            <pc:sldMk cId="3893755673" sldId="10466"/>
            <ac:picMk id="17" creationId="{E44B1753-EB5F-5F86-7F9A-4BB1819CC32D}"/>
          </ac:picMkLst>
        </pc:picChg>
      </pc:sldChg>
      <pc:sldMasterChg chg="addSldLayout delSldLayout">
        <pc:chgData name="Johnny Gunneng" userId="df559fc9-3016-4f36-b4b3-58e7b0650935" providerId="ADAL" clId="{3FE2766B-150D-4730-BF16-CDDF6F757E0E}" dt="2022-10-18T18:52:21.652" v="14" actId="47"/>
        <pc:sldMasterMkLst>
          <pc:docMk/>
          <pc:sldMasterMk cId="2150379552" sldId="2147483743"/>
        </pc:sldMasterMkLst>
        <pc:sldLayoutChg chg="add del">
          <pc:chgData name="Johnny Gunneng" userId="df559fc9-3016-4f36-b4b3-58e7b0650935" providerId="ADAL" clId="{3FE2766B-150D-4730-BF16-CDDF6F757E0E}" dt="2022-10-18T18:52:21.652" v="14" actId="47"/>
          <pc:sldLayoutMkLst>
            <pc:docMk/>
            <pc:sldMasterMk cId="2150379552" sldId="2147483743"/>
            <pc:sldLayoutMk cId="2366841496" sldId="214748378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8B55FF6E-51BC-4FA5-8168-FD559C80711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58DB0F55-3D3D-46D8-BAE7-4E61AAA1F56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B99969-DDB7-4906-B56F-220FBC20E204}" type="datetimeFigureOut">
              <a:rPr lang="en-GB" smtClean="0"/>
              <a:t>18/10/2022</a:t>
            </a:fld>
            <a:endParaRPr lang="en-GB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FA856CD2-FF74-4E0C-9333-862F95C7810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96D8ACEF-97E6-4F2B-A69C-74A2243C368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D7B7AD-55B4-4BAE-8F90-004914B4BF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74572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EF5E5-5D5D-4B3A-8019-DFC987521731}" type="datetimeFigureOut">
              <a:rPr lang="en-GB" smtClean="0"/>
              <a:t>18/10/2022</a:t>
            </a:fld>
            <a:endParaRPr lang="en-GB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F7111F-D1BF-4FCD-B960-6D978A2D99A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8222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F7111F-D1BF-4FCD-B960-6D978A2D99AB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5559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F7111F-D1BF-4FCD-B960-6D978A2D99AB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06181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1725A-08F6-4E0D-BC9A-2B1F7F7BADE2}" type="datetime1">
              <a:rPr lang="en-US" smtClean="0"/>
              <a:t>10/18/2022</a:t>
            </a:fld>
            <a:endParaRPr lang="en-GB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  <p:pic>
        <p:nvPicPr>
          <p:cNvPr id="5" name="Billede 6">
            <a:extLst>
              <a:ext uri="{FF2B5EF4-FFF2-40B4-BE49-F238E27FC236}">
                <a16:creationId xmlns:a16="http://schemas.microsoft.com/office/drawing/2014/main" id="{B16A39E2-B437-452C-AD9D-01B4FA239D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0065" y="563974"/>
            <a:ext cx="4971869" cy="19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255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628775"/>
            <a:ext cx="10515600" cy="2852737"/>
          </a:xfrm>
        </p:spPr>
        <p:txBody>
          <a:bodyPr anchor="ctr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0DF34-E787-4906-B80E-D872D0CE529E}" type="datetime1">
              <a:rPr lang="en-US" smtClean="0"/>
              <a:t>10/18/2022</a:t>
            </a:fld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0431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515938" y="162877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51593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2877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2CA19-092F-4ECE-B4D3-17D82C1A9EE4}" type="datetime1">
              <a:rPr lang="en-US" smtClean="0"/>
              <a:t>10/18/2022</a:t>
            </a:fld>
            <a:endParaRPr lang="en-GB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EAAC1AE9-DEA8-49D1-88EE-4AD027542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58763"/>
            <a:ext cx="8770810" cy="743782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588112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5AEC6-A74A-4F16-BFB9-E30E24767560}" type="datetime1">
              <a:rPr lang="en-US" smtClean="0"/>
              <a:t>10/18/2022</a:t>
            </a:fld>
            <a:endParaRPr lang="en-GB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83139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9F7909-F469-4446-98F0-CF5A168AFA4C}" type="datetime1">
              <a:rPr lang="en-US" smtClean="0"/>
              <a:t>10/18/2022</a:t>
            </a:fld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62939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BA800-2B43-4200-8839-C2CA9690C3B1}" type="datetime1">
              <a:rPr lang="en-US" smtClean="0"/>
              <a:t>10/18/2022</a:t>
            </a:fld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78505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DF7B3-54BD-4267-B386-08F0A450A13D}" type="datetime1">
              <a:rPr lang="en-US" smtClean="0"/>
              <a:t>10/18/2022</a:t>
            </a:fld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68243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515938" y="162877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51593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2877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EB635-98FA-454F-AAA8-806C1ED0E582}" type="datetime1">
              <a:rPr lang="en-US" smtClean="0"/>
              <a:t>10/18/2022</a:t>
            </a:fld>
            <a:endParaRPr lang="en-GB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EAAC1AE9-DEA8-49D1-88EE-4AD027542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58763"/>
            <a:ext cx="8770810" cy="743782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11241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 descr="Et bilde som inneholder utendørs, natur, visning, skråning&#10;&#10;Automatisk generert beskrivelse">
            <a:extLst>
              <a:ext uri="{FF2B5EF4-FFF2-40B4-BE49-F238E27FC236}">
                <a16:creationId xmlns:a16="http://schemas.microsoft.com/office/drawing/2014/main" id="{A90E59EF-91F9-49AC-9381-C046753708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094" cy="6858000"/>
          </a:xfrm>
          <a:prstGeom prst="rect">
            <a:avLst/>
          </a:prstGeom>
        </p:spPr>
      </p:pic>
      <p:sp>
        <p:nvSpPr>
          <p:cNvPr id="9" name="Plassholder for innhold 5">
            <a:extLst>
              <a:ext uri="{FF2B5EF4-FFF2-40B4-BE49-F238E27FC236}">
                <a16:creationId xmlns:a16="http://schemas.microsoft.com/office/drawing/2014/main" id="{5B436332-A205-4D95-BF3B-18F6286122F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C2130">
              <a:alpha val="75000"/>
            </a:srgbClr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4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endParaRPr lang="nb-NO" sz="4800"/>
          </a:p>
        </p:txBody>
      </p:sp>
      <p:pic>
        <p:nvPicPr>
          <p:cNvPr id="10" name="Billede 6">
            <a:extLst>
              <a:ext uri="{FF2B5EF4-FFF2-40B4-BE49-F238E27FC236}">
                <a16:creationId xmlns:a16="http://schemas.microsoft.com/office/drawing/2014/main" id="{500449F2-DF4A-46B3-9AB3-355E441A4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4572" y="401542"/>
            <a:ext cx="6097577" cy="23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1419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4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himmel, fjell, natur, utendørs&#10;&#10;Automatisk generert beskrivelse">
            <a:extLst>
              <a:ext uri="{FF2B5EF4-FFF2-40B4-BE49-F238E27FC236}">
                <a16:creationId xmlns:a16="http://schemas.microsoft.com/office/drawing/2014/main" id="{5C925148-1287-D57B-50B7-1CE3D37D06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69176"/>
            <a:ext cx="12192000" cy="8127176"/>
          </a:xfrm>
          <a:prstGeom prst="rect">
            <a:avLst/>
          </a:prstGeom>
        </p:spPr>
      </p:pic>
      <p:sp>
        <p:nvSpPr>
          <p:cNvPr id="9" name="Plassholder for innhold 5">
            <a:extLst>
              <a:ext uri="{FF2B5EF4-FFF2-40B4-BE49-F238E27FC236}">
                <a16:creationId xmlns:a16="http://schemas.microsoft.com/office/drawing/2014/main" id="{5B436332-A205-4D95-BF3B-18F6286122F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C2130">
              <a:alpha val="75000"/>
            </a:srgbClr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4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endParaRPr lang="nb-NO" sz="4800"/>
          </a:p>
        </p:txBody>
      </p:sp>
      <p:pic>
        <p:nvPicPr>
          <p:cNvPr id="10" name="Billede 6">
            <a:extLst>
              <a:ext uri="{FF2B5EF4-FFF2-40B4-BE49-F238E27FC236}">
                <a16:creationId xmlns:a16="http://schemas.microsoft.com/office/drawing/2014/main" id="{500449F2-DF4A-46B3-9AB3-355E441A4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4572" y="401542"/>
            <a:ext cx="6097577" cy="23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1113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5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himmel, fjell, natur, utendørs&#10;&#10;Automatisk generert beskrivelse">
            <a:extLst>
              <a:ext uri="{FF2B5EF4-FFF2-40B4-BE49-F238E27FC236}">
                <a16:creationId xmlns:a16="http://schemas.microsoft.com/office/drawing/2014/main" id="{5C925148-1287-D57B-50B7-1CE3D37D0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1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Plassholder for innhold 5">
            <a:extLst>
              <a:ext uri="{FF2B5EF4-FFF2-40B4-BE49-F238E27FC236}">
                <a16:creationId xmlns:a16="http://schemas.microsoft.com/office/drawing/2014/main" id="{5B436332-A205-4D95-BF3B-18F6286122F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C2130">
              <a:alpha val="75000"/>
            </a:srgbClr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4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bg1"/>
                </a:solidFill>
                <a:latin typeface="Titillium Web" panose="00000300000000000000" pitchFamily="2" charset="0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endParaRPr lang="nb-NO" sz="4800"/>
          </a:p>
        </p:txBody>
      </p:sp>
      <p:pic>
        <p:nvPicPr>
          <p:cNvPr id="2" name="Billede 6">
            <a:extLst>
              <a:ext uri="{FF2B5EF4-FFF2-40B4-BE49-F238E27FC236}">
                <a16:creationId xmlns:a16="http://schemas.microsoft.com/office/drawing/2014/main" id="{6992BDF0-4A5C-7806-95D4-C6C7FB5096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9122" y="205258"/>
            <a:ext cx="2216991" cy="850792"/>
          </a:xfrm>
          <a:prstGeom prst="rect">
            <a:avLst/>
          </a:prstGeom>
        </p:spPr>
      </p:pic>
      <p:pic>
        <p:nvPicPr>
          <p:cNvPr id="4" name="Picture 2" descr="Sustainable Development Goals | International Cooperation and ...">
            <a:extLst>
              <a:ext uri="{FF2B5EF4-FFF2-40B4-BE49-F238E27FC236}">
                <a16:creationId xmlns:a16="http://schemas.microsoft.com/office/drawing/2014/main" id="{E4DD9A70-629F-0A34-0BED-74971FC3D7A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28068" y="5657848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17185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E3246-4A28-439F-AFD2-FAE2EE1A7DB8}" type="datetime1">
              <a:rPr lang="en-US" smtClean="0"/>
              <a:t>10/18/2022</a:t>
            </a:fld>
            <a:endParaRPr lang="en-GB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0114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FCDEAD-1EE1-4688-83F3-911DAF673989}" type="datetime1">
              <a:rPr lang="en-US" smtClean="0"/>
              <a:t>10/18/2022</a:t>
            </a:fld>
            <a:endParaRPr lang="en-GB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rgbClr val="898989"/>
                </a:solidFill>
                <a:latin typeface="Titillium Web" panose="00000500000000000000" pitchFamily="2" charset="0"/>
              </a:defRPr>
            </a:lvl1pPr>
          </a:lstStyle>
          <a:p>
            <a:fld id="{C4AE0808-E054-47DF-97A6-48D6840968D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19497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F0E3B-7036-4007-9D0A-0FE5246F2841}" type="datetime1">
              <a:rPr lang="en-US" smtClean="0"/>
              <a:t>10/18/2022</a:t>
            </a:fld>
            <a:endParaRPr lang="en-GB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73572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5937" y="1639339"/>
            <a:ext cx="11160125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C7A290-8520-4CB6-9B9C-BC1892492796}" type="datetime1">
              <a:rPr lang="en-US" smtClean="0"/>
              <a:t>10/18/2022</a:t>
            </a:fld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GB" sz="1100" b="0" i="0" smtClean="0">
                <a:solidFill>
                  <a:schemeClr val="tx1">
                    <a:tint val="75000"/>
                  </a:schemeClr>
                </a:solidFill>
                <a:latin typeface="Titillium Web" panose="00000300000000000000" pitchFamily="2" charset="0"/>
                <a:ea typeface="Roboto Light" panose="02000000000000000000" pitchFamily="2" charset="0"/>
              </a:defRPr>
            </a:lvl1pPr>
          </a:lstStyle>
          <a:p>
            <a:pPr algn="ctr"/>
            <a:fld id="{C4AE0808-E054-47DF-97A6-48D6840968DC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49826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5938" y="1628775"/>
            <a:ext cx="41402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E048F-BB1B-4C96-9BBB-795C4472EC6A}" type="datetime1">
              <a:rPr lang="en-US" smtClean="0"/>
              <a:t>10/18/2022</a:t>
            </a:fld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43147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extLst>
    <p:ext uri="{DCECCB84-F9BA-43D5-87BE-67443E8EF086}">
      <p15:sldGuideLst xmlns:p15="http://schemas.microsoft.com/office/powerpoint/2012/main">
        <p15:guide id="1" pos="293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02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5938" y="1628775"/>
            <a:ext cx="5580062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856B7-E1FB-4D67-8209-09F9B7941B7A}" type="datetime1">
              <a:rPr lang="en-US" smtClean="0"/>
              <a:t>10/18/2022</a:t>
            </a:fld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41819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extLst>
    <p:ext uri="{DCECCB84-F9BA-43D5-87BE-67443E8EF086}">
      <p15:sldGuideLst xmlns:p15="http://schemas.microsoft.com/office/powerpoint/2012/main">
        <p15:guide id="1" pos="293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02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5938" y="258763"/>
            <a:ext cx="8770810" cy="743782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515938" y="1639339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491745" y="1639339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9218B4-FF3F-45E0-8BC0-CDC2A34699DA}" type="datetime1">
              <a:rPr lang="en-US" smtClean="0"/>
              <a:t>10/18/2022</a:t>
            </a:fld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8721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628775"/>
            <a:ext cx="10515600" cy="2852737"/>
          </a:xfrm>
        </p:spPr>
        <p:txBody>
          <a:bodyPr anchor="ctr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14661-3725-41CF-9189-16914FBCBFEF}" type="datetime1">
              <a:rPr lang="en-US" smtClean="0"/>
              <a:t>10/18/2022</a:t>
            </a:fld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93107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515938" y="162877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51593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2877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DE1EB8-C22E-4CA6-9777-BD99EEA02C83}" type="datetime1">
              <a:rPr lang="en-US" smtClean="0"/>
              <a:t>10/18/2022</a:t>
            </a:fld>
            <a:endParaRPr lang="en-GB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EAAC1AE9-DEA8-49D1-88EE-4AD027542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58763"/>
            <a:ext cx="8770810" cy="743782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12640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C4E489-45C1-4410-B1D1-E2AA67856698}" type="datetime1">
              <a:rPr lang="en-US" smtClean="0"/>
              <a:t>10/18/2022</a:t>
            </a:fld>
            <a:endParaRPr lang="en-GB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27403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EAAA7F-E28A-46DE-809D-08FFAE4880B3}" type="datetime1">
              <a:rPr lang="en-US" smtClean="0"/>
              <a:t>10/18/2022</a:t>
            </a:fld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2079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49C13B-E776-49B8-9809-435A51BBACB4}" type="datetime1">
              <a:rPr lang="en-US" smtClean="0"/>
              <a:t>10/18/2022</a:t>
            </a:fld>
            <a:endParaRPr lang="en-GB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5024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5FB53-F7A2-4FA7-B499-A936F8F6743A}" type="datetime1">
              <a:rPr lang="en-US" smtClean="0"/>
              <a:t>10/18/2022</a:t>
            </a:fld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5932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D1667-8237-4350-BB7C-9821E20A11D6}" type="datetime1">
              <a:rPr lang="en-US" smtClean="0"/>
              <a:t>10/18/2022</a:t>
            </a:fld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39731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Kun ti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87A5D060-7DFC-5340-771D-4BB46AEACC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49C13B-E776-49B8-9809-435A51BBACB4}" type="datetime1">
              <a:rPr lang="en-US" smtClean="0"/>
              <a:t>10/18/2022</a:t>
            </a:fld>
            <a:endParaRPr lang="en-GB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6CA62A51-1381-FD64-E2FF-69D997872A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2738" y="153416"/>
            <a:ext cx="254892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095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2999" y="258763"/>
            <a:ext cx="5603749" cy="743782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CF551-C0CC-44C7-B1BD-8DC268FDC23F}" type="datetime1">
              <a:rPr lang="en-US" smtClean="0"/>
              <a:t>10/18/2022</a:t>
            </a:fld>
            <a:endParaRPr lang="en-GB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52105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3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5937" y="1639339"/>
            <a:ext cx="11160125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4B341-0836-4453-B3E6-40E607FDC79E}" type="datetime1">
              <a:rPr lang="en-US" smtClean="0"/>
              <a:t>10/18/2022</a:t>
            </a:fld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74820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5938" y="1628775"/>
            <a:ext cx="41402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6EC28-AC1F-49C8-BEB5-8B5B0FBBE5B0}" type="datetime1">
              <a:rPr lang="en-US" smtClean="0"/>
              <a:t>10/18/2022</a:t>
            </a:fld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74397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extLst>
    <p:ext uri="{DCECCB84-F9BA-43D5-87BE-67443E8EF086}">
      <p15:sldGuideLst xmlns:p15="http://schemas.microsoft.com/office/powerpoint/2012/main">
        <p15:guide id="1" pos="293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02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5938" y="1628775"/>
            <a:ext cx="5580062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8A9F-0D1E-4399-B84F-C37DFF8ED48D}" type="datetime1">
              <a:rPr lang="en-US" smtClean="0"/>
              <a:t>10/18/2022</a:t>
            </a:fld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93786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extLst>
    <p:ext uri="{DCECCB84-F9BA-43D5-87BE-67443E8EF086}">
      <p15:sldGuideLst xmlns:p15="http://schemas.microsoft.com/office/powerpoint/2012/main">
        <p15:guide id="1" pos="293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02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5938" y="258763"/>
            <a:ext cx="8770810" cy="743782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515938" y="1639339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491745" y="1639339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0AFF1-7625-48D5-ACFA-9136F9473980}" type="datetime1">
              <a:rPr lang="en-US" smtClean="0"/>
              <a:t>10/18/2022</a:t>
            </a:fld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E0808-E054-47DF-97A6-48D6840968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37860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9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515938" y="258763"/>
            <a:ext cx="8770810" cy="74378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da-DK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515938" y="1825625"/>
            <a:ext cx="111601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51593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1">
                    <a:tint val="75000"/>
                  </a:schemeClr>
                </a:solidFill>
                <a:latin typeface="Titillium Web" panose="00000300000000000000" pitchFamily="2" charset="0"/>
                <a:ea typeface="Roboto Light" panose="02000000000000000000" pitchFamily="2" charset="0"/>
              </a:defRPr>
            </a:lvl1pPr>
          </a:lstStyle>
          <a:p>
            <a:fld id="{AD028CFE-FB84-4086-927C-9CC93918E4B2}" type="datetime1">
              <a:rPr lang="en-US" smtClean="0"/>
              <a:t>10/18/2022</a:t>
            </a:fld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054347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0" i="0">
                <a:solidFill>
                  <a:schemeClr val="tx1">
                    <a:tint val="75000"/>
                  </a:schemeClr>
                </a:solidFill>
                <a:latin typeface="Titillium Web" panose="00000300000000000000" pitchFamily="2" charset="0"/>
                <a:ea typeface="Roboto Light" panose="02000000000000000000" pitchFamily="2" charset="0"/>
              </a:defRPr>
            </a:lvl1pPr>
          </a:lstStyle>
          <a:p>
            <a:r>
              <a:rPr lang="en-GB"/>
              <a:t>CONFIDENTIAL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0" i="0">
                <a:solidFill>
                  <a:schemeClr val="tx1">
                    <a:tint val="75000"/>
                  </a:schemeClr>
                </a:solidFill>
                <a:latin typeface="Titillium Web" panose="00000300000000000000" pitchFamily="2" charset="0"/>
                <a:ea typeface="Roboto Light" panose="02000000000000000000" pitchFamily="2" charset="0"/>
              </a:defRPr>
            </a:lvl1pPr>
          </a:lstStyle>
          <a:p>
            <a:fld id="{C4AE0808-E054-47DF-97A6-48D6840968DC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9E863559-BE9F-4A97-B758-3FBE85413C94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9122" y="205258"/>
            <a:ext cx="2216991" cy="850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82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33" r:id="rId2"/>
    <p:sldLayoutId id="2147483687" r:id="rId3"/>
    <p:sldLayoutId id="2147483786" r:id="rId4"/>
    <p:sldLayoutId id="2147483737" r:id="rId5"/>
    <p:sldLayoutId id="2147483682" r:id="rId6"/>
    <p:sldLayoutId id="2147483735" r:id="rId7"/>
    <p:sldLayoutId id="2147483736" r:id="rId8"/>
    <p:sldLayoutId id="2147483684" r:id="rId9"/>
    <p:sldLayoutId id="2147483685" r:id="rId10"/>
    <p:sldLayoutId id="2147483686" r:id="rId11"/>
    <p:sldLayoutId id="2147483688" r:id="rId12"/>
    <p:sldLayoutId id="2147483689" r:id="rId13"/>
    <p:sldLayoutId id="2147483690" r:id="rId14"/>
    <p:sldLayoutId id="2147483691" r:id="rId15"/>
    <p:sldLayoutId id="2147483785" r:id="rId16"/>
  </p:sldLayoutIdLst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bg1"/>
          </a:solidFill>
          <a:latin typeface="Titillium Web" panose="00000500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400" b="0" i="0" kern="1200">
          <a:solidFill>
            <a:schemeClr val="bg1"/>
          </a:solidFill>
          <a:latin typeface="Titillium Web" panose="00000300000000000000" pitchFamily="2" charset="0"/>
          <a:ea typeface="Roboto Light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bg1"/>
          </a:solidFill>
          <a:latin typeface="Titillium Web" panose="00000300000000000000" pitchFamily="2" charset="0"/>
          <a:ea typeface="Roboto Light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bg1"/>
          </a:solidFill>
          <a:latin typeface="Titillium Web" panose="00000300000000000000" pitchFamily="2" charset="0"/>
          <a:ea typeface="Roboto Light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bg1"/>
          </a:solidFill>
          <a:latin typeface="Titillium Web" panose="00000300000000000000" pitchFamily="2" charset="0"/>
          <a:ea typeface="Roboto Light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bg1"/>
          </a:solidFill>
          <a:latin typeface="Titillium Web" panose="00000300000000000000" pitchFamily="2" charset="0"/>
          <a:ea typeface="Roboto Light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2160">
          <p15:clr>
            <a:srgbClr val="F26B43"/>
          </p15:clr>
        </p15:guide>
        <p15:guide id="6" pos="3840">
          <p15:clr>
            <a:srgbClr val="F26B43"/>
          </p15:clr>
        </p15:guide>
        <p15:guide id="7" pos="7355">
          <p15:clr>
            <a:srgbClr val="F26B43"/>
          </p15:clr>
        </p15:guide>
        <p15:guide id="8" pos="32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9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515938" y="258763"/>
            <a:ext cx="8770810" cy="74378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da-DK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515938" y="1825625"/>
            <a:ext cx="111601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51593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1">
                    <a:tint val="75000"/>
                  </a:schemeClr>
                </a:solidFill>
                <a:latin typeface="Titillium Web" panose="00000300000000000000" pitchFamily="2" charset="0"/>
                <a:ea typeface="Roboto Light" panose="02000000000000000000" pitchFamily="2" charset="0"/>
              </a:defRPr>
            </a:lvl1pPr>
          </a:lstStyle>
          <a:p>
            <a:fld id="{D4763AB8-A265-4033-ADF6-90400E1949FC}" type="datetime1">
              <a:rPr lang="en-US" smtClean="0"/>
              <a:t>10/18/2022</a:t>
            </a:fld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054347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0" i="0">
                <a:solidFill>
                  <a:schemeClr val="tx1">
                    <a:tint val="75000"/>
                  </a:schemeClr>
                </a:solidFill>
                <a:latin typeface="Titillium Web" panose="00000300000000000000" pitchFamily="2" charset="0"/>
                <a:ea typeface="Roboto Light" panose="02000000000000000000" pitchFamily="2" charset="0"/>
              </a:defRPr>
            </a:lvl1pPr>
          </a:lstStyle>
          <a:p>
            <a:r>
              <a:rPr lang="en-GB"/>
              <a:t>CONFIDENTIAL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9E863559-BE9F-4A97-B758-3FBE85413C94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9122" y="205258"/>
            <a:ext cx="2216991" cy="850792"/>
          </a:xfrm>
          <a:prstGeom prst="rect">
            <a:avLst/>
          </a:prstGeom>
        </p:spPr>
      </p:pic>
      <p:pic>
        <p:nvPicPr>
          <p:cNvPr id="8" name="Picture 2" descr="Sustainable Development Goals | International Cooperation and ...">
            <a:extLst>
              <a:ext uri="{FF2B5EF4-FFF2-40B4-BE49-F238E27FC236}">
                <a16:creationId xmlns:a16="http://schemas.microsoft.com/office/drawing/2014/main" id="{A3F230DB-1F76-4CDD-8505-939935A8A0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28068" y="5657848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adsholder til slidenummer 5">
            <a:extLst>
              <a:ext uri="{FF2B5EF4-FFF2-40B4-BE49-F238E27FC236}">
                <a16:creationId xmlns:a16="http://schemas.microsoft.com/office/drawing/2014/main" id="{985A44CE-896D-9961-EAD3-76C4A5063B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0" i="0">
                <a:solidFill>
                  <a:schemeClr val="tx1">
                    <a:tint val="75000"/>
                  </a:schemeClr>
                </a:solidFill>
                <a:latin typeface="Titillium Web" panose="00000300000000000000" pitchFamily="2" charset="0"/>
                <a:ea typeface="Roboto Light" panose="02000000000000000000" pitchFamily="2" charset="0"/>
              </a:defRPr>
            </a:lvl1pPr>
          </a:lstStyle>
          <a:p>
            <a:fld id="{C4AE0808-E054-47DF-97A6-48D6840968D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379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89" r:id="rId2"/>
    <p:sldLayoutId id="2147483790" r:id="rId3"/>
    <p:sldLayoutId id="2147483745" r:id="rId4"/>
    <p:sldLayoutId id="2147483746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</p:sldLayoutIdLst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bg1"/>
          </a:solidFill>
          <a:latin typeface="Titillium Web" panose="00000500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400" b="0" i="0" kern="1200">
          <a:solidFill>
            <a:schemeClr val="bg1"/>
          </a:solidFill>
          <a:latin typeface="Titillium Web" panose="00000300000000000000" pitchFamily="2" charset="0"/>
          <a:ea typeface="Roboto Light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bg1"/>
          </a:solidFill>
          <a:latin typeface="Titillium Web" panose="00000300000000000000" pitchFamily="2" charset="0"/>
          <a:ea typeface="Roboto Light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bg1"/>
          </a:solidFill>
          <a:latin typeface="Titillium Web" panose="00000300000000000000" pitchFamily="2" charset="0"/>
          <a:ea typeface="Roboto Light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bg1"/>
          </a:solidFill>
          <a:latin typeface="Titillium Web" panose="00000300000000000000" pitchFamily="2" charset="0"/>
          <a:ea typeface="Roboto Light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bg1"/>
          </a:solidFill>
          <a:latin typeface="Titillium Web" panose="00000300000000000000" pitchFamily="2" charset="0"/>
          <a:ea typeface="Roboto Light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2160">
          <p15:clr>
            <a:srgbClr val="F26B43"/>
          </p15:clr>
        </p15:guide>
        <p15:guide id="6" pos="3840">
          <p15:clr>
            <a:srgbClr val="F26B43"/>
          </p15:clr>
        </p15:guide>
        <p15:guide id="7" pos="7355">
          <p15:clr>
            <a:srgbClr val="F26B43"/>
          </p15:clr>
        </p15:guide>
        <p15:guide id="8" pos="3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utilityweek.co.uk/anglian-launches-ai-in-water-treatment-and-recycling-pilot/" TargetMode="External"/><Relationship Id="rId3" Type="http://schemas.openxmlformats.org/officeDocument/2006/relationships/image" Target="../media/image4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customers.microsoft.com/en-us/story/1374092528650791524-lillestrom-government-azure" TargetMode="External"/><Relationship Id="rId5" Type="http://schemas.openxmlformats.org/officeDocument/2006/relationships/image" Target="../media/image8.png"/><Relationship Id="rId10" Type="http://schemas.openxmlformats.org/officeDocument/2006/relationships/image" Target="../media/image11.png"/><Relationship Id="rId4" Type="http://schemas.openxmlformats.org/officeDocument/2006/relationships/hyperlink" Target="https://www.infotiles.no/en/use-cases/smart-molde-regional-cooperation-for-smart-use-of-data" TargetMode="Externa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png"/><Relationship Id="rId7" Type="http://schemas.openxmlformats.org/officeDocument/2006/relationships/image" Target="../media/image17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.xml"/><Relationship Id="rId5" Type="http://schemas.openxmlformats.org/officeDocument/2006/relationships/image" Target="../media/image20.png"/><Relationship Id="rId4" Type="http://schemas.openxmlformats.org/officeDocument/2006/relationships/hyperlink" Target="mailto:Johnny.gunneng@infotiles.no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dertittel 2">
            <a:extLst>
              <a:ext uri="{FF2B5EF4-FFF2-40B4-BE49-F238E27FC236}">
                <a16:creationId xmlns:a16="http://schemas.microsoft.com/office/drawing/2014/main" id="{8A51B925-5D78-B629-4B23-0349C9DE6077}"/>
              </a:ext>
            </a:extLst>
          </p:cNvPr>
          <p:cNvSpPr txBox="1">
            <a:spLocks/>
          </p:cNvSpPr>
          <p:nvPr/>
        </p:nvSpPr>
        <p:spPr>
          <a:xfrm>
            <a:off x="515939" y="1376363"/>
            <a:ext cx="11160124" cy="391001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4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kumimoji="0" lang="en-GB" sz="9600" b="1" i="0" u="none" strike="noStrike" kern="1200" cap="none" spc="0" normalizeH="0" baseline="0" noProof="0" dirty="0">
                <a:ln>
                  <a:noFill/>
                </a:ln>
                <a:solidFill>
                  <a:srgbClr val="26C9FC"/>
                </a:solidFill>
                <a:effectLst/>
                <a:uLnTx/>
                <a:uFillTx/>
                <a:latin typeface="+mn-lt"/>
              </a:rPr>
              <a:t>DIGITAL WATER</a:t>
            </a:r>
            <a:r>
              <a:rPr kumimoji="0" lang="en-GB" sz="9600" b="1" i="0" u="none" strike="noStrike" kern="1200" cap="none" spc="0" normalizeH="0" baseline="0" noProof="0" dirty="0">
                <a:ln>
                  <a:noFill/>
                </a:ln>
                <a:solidFill>
                  <a:srgbClr val="2D97D3"/>
                </a:solidFill>
                <a:effectLst/>
                <a:uLnTx/>
                <a:uFillTx/>
                <a:latin typeface="+mn-lt"/>
              </a:rPr>
              <a:t> 💧</a:t>
            </a:r>
            <a:endParaRPr kumimoji="0" lang="en-GB" sz="9600" b="0" i="0" u="none" strike="noStrike" kern="1200" cap="none" spc="0" normalizeH="0" baseline="0" noProof="0" dirty="0">
              <a:ln>
                <a:noFill/>
              </a:ln>
              <a:solidFill>
                <a:srgbClr val="2D97D3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1200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Sustainable Development Goals | International Cooperation and ...">
            <a:extLst>
              <a:ext uri="{FF2B5EF4-FFF2-40B4-BE49-F238E27FC236}">
                <a16:creationId xmlns:a16="http://schemas.microsoft.com/office/drawing/2014/main" id="{837CAC13-92B4-8CB8-1536-C8D677743B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28068" y="5657848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Bilde 10">
            <a:hlinkClick r:id="rId4"/>
            <a:extLst>
              <a:ext uri="{FF2B5EF4-FFF2-40B4-BE49-F238E27FC236}">
                <a16:creationId xmlns:a16="http://schemas.microsoft.com/office/drawing/2014/main" id="{C17CDAA7-AD96-45D2-9891-CE9E5A623BD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897" b="15062"/>
          <a:stretch/>
        </p:blipFill>
        <p:spPr>
          <a:xfrm>
            <a:off x="5118463" y="958233"/>
            <a:ext cx="3035428" cy="2717856"/>
          </a:xfrm>
          <a:prstGeom prst="rect">
            <a:avLst/>
          </a:prstGeom>
        </p:spPr>
      </p:pic>
      <p:pic>
        <p:nvPicPr>
          <p:cNvPr id="8" name="Bilde 7">
            <a:hlinkClick r:id="rId6"/>
            <a:extLst>
              <a:ext uri="{FF2B5EF4-FFF2-40B4-BE49-F238E27FC236}">
                <a16:creationId xmlns:a16="http://schemas.microsoft.com/office/drawing/2014/main" id="{A61A4E89-1D2D-65DF-8768-74034C39FA6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7590"/>
          <a:stretch/>
        </p:blipFill>
        <p:spPr>
          <a:xfrm rot="20728861">
            <a:off x="4961660" y="3480527"/>
            <a:ext cx="2645923" cy="2639737"/>
          </a:xfrm>
          <a:prstGeom prst="rect">
            <a:avLst/>
          </a:prstGeom>
        </p:spPr>
      </p:pic>
      <p:pic>
        <p:nvPicPr>
          <p:cNvPr id="4" name="Bilde 3">
            <a:hlinkClick r:id="rId8"/>
            <a:extLst>
              <a:ext uri="{FF2B5EF4-FFF2-40B4-BE49-F238E27FC236}">
                <a16:creationId xmlns:a16="http://schemas.microsoft.com/office/drawing/2014/main" id="{F8F20A7F-9B79-9F7B-EA55-96BE5EFA24A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292" r="7796" b="2330"/>
          <a:stretch/>
        </p:blipFill>
        <p:spPr>
          <a:xfrm rot="248235">
            <a:off x="8194959" y="2421119"/>
            <a:ext cx="3236448" cy="2938462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EC5D1E81-ACD1-8D6E-76F3-C30B64B7F7F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1026" y="415574"/>
            <a:ext cx="3849233" cy="6026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23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B6C5BB0-1C98-F77F-0A5C-E8BA346B3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You can’t manage what you don’t measure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D00AAF35-FFCD-7DFE-F9D9-B6F3EC9F3C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2057" y="3724085"/>
            <a:ext cx="2271517" cy="153218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60B2A30B-7D5A-FC08-4FC1-B7F1074701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8054" y="3724085"/>
            <a:ext cx="2298153" cy="1549125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3D03EA22-BCEB-5B6C-D797-A53027EF0A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7652" y="3724085"/>
            <a:ext cx="2274523" cy="1508341"/>
          </a:xfrm>
          <a:prstGeom prst="rect">
            <a:avLst/>
          </a:prstGeom>
        </p:spPr>
      </p:pic>
      <p:sp>
        <p:nvSpPr>
          <p:cNvPr id="6" name="Rectangle 6">
            <a:extLst>
              <a:ext uri="{FF2B5EF4-FFF2-40B4-BE49-F238E27FC236}">
                <a16:creationId xmlns:a16="http://schemas.microsoft.com/office/drawing/2014/main" id="{7DA24BBA-57EB-0310-9E9B-7F326ECF6FF0}"/>
              </a:ext>
            </a:extLst>
          </p:cNvPr>
          <p:cNvSpPr/>
          <p:nvPr/>
        </p:nvSpPr>
        <p:spPr>
          <a:xfrm>
            <a:off x="1648053" y="3298366"/>
            <a:ext cx="2275200" cy="39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GB" sz="2400" b="1">
                <a:solidFill>
                  <a:srgbClr val="FFFFFF"/>
                </a:solidFill>
                <a:cs typeface="Times New Roman" panose="02020603050405020304" pitchFamily="18" charset="0"/>
              </a:rPr>
              <a:t>Connect</a:t>
            </a:r>
            <a:endParaRPr lang="en-GB">
              <a:cs typeface="Times New Roman" panose="02020603050405020304" pitchFamily="18" charset="0"/>
            </a:endParaRP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6D745822-DF82-A8B1-AA85-B0250ADA4D11}"/>
              </a:ext>
            </a:extLst>
          </p:cNvPr>
          <p:cNvSpPr/>
          <p:nvPr/>
        </p:nvSpPr>
        <p:spPr>
          <a:xfrm>
            <a:off x="4958400" y="3298366"/>
            <a:ext cx="2275200" cy="396000"/>
          </a:xfrm>
          <a:prstGeom prst="rect">
            <a:avLst/>
          </a:prstGeom>
          <a:solidFill>
            <a:srgbClr val="FFB7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sz="2400" b="1">
                <a:solidFill>
                  <a:srgbClr val="FFFFFF"/>
                </a:solidFill>
              </a:rPr>
              <a:t>Visualise</a:t>
            </a:r>
            <a:endParaRPr lang="en-GB" sz="2400" b="1">
              <a:solidFill>
                <a:srgbClr val="FFFFFF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id="{9E26648D-CFD3-2D07-EA76-98976F504C1A}"/>
              </a:ext>
            </a:extLst>
          </p:cNvPr>
          <p:cNvSpPr/>
          <p:nvPr/>
        </p:nvSpPr>
        <p:spPr>
          <a:xfrm>
            <a:off x="8246975" y="3298366"/>
            <a:ext cx="2275200" cy="396000"/>
          </a:xfrm>
          <a:prstGeom prst="rect">
            <a:avLst/>
          </a:prstGeom>
          <a:solidFill>
            <a:srgbClr val="ED52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/>
              <a:t>Learn</a:t>
            </a:r>
          </a:p>
        </p:txBody>
      </p:sp>
      <p:sp>
        <p:nvSpPr>
          <p:cNvPr id="14" name="Rectangle 9">
            <a:extLst>
              <a:ext uri="{FF2B5EF4-FFF2-40B4-BE49-F238E27FC236}">
                <a16:creationId xmlns:a16="http://schemas.microsoft.com/office/drawing/2014/main" id="{33C920C0-060C-AFC1-EF73-38FC326ECB56}"/>
              </a:ext>
            </a:extLst>
          </p:cNvPr>
          <p:cNvSpPr/>
          <p:nvPr/>
        </p:nvSpPr>
        <p:spPr>
          <a:xfrm>
            <a:off x="1676400" y="5324248"/>
            <a:ext cx="8784771" cy="504000"/>
          </a:xfrm>
          <a:prstGeom prst="rect">
            <a:avLst/>
          </a:prstGeom>
          <a:solidFill>
            <a:srgbClr val="70A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>
                <a:solidFill>
                  <a:schemeClr val="bg1"/>
                </a:solidFill>
              </a:rPr>
              <a:t>Act</a:t>
            </a:r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387B199C-D6E1-83BB-F0B3-B26FD885F9F5}"/>
              </a:ext>
            </a:extLst>
          </p:cNvPr>
          <p:cNvSpPr/>
          <p:nvPr/>
        </p:nvSpPr>
        <p:spPr>
          <a:xfrm>
            <a:off x="515938" y="1121228"/>
            <a:ext cx="2052000" cy="36512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 dirty="0"/>
              <a:t>Supply</a:t>
            </a:r>
            <a:endParaRPr lang="en-US" b="1" dirty="0"/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D24338F1-D325-4D2F-CF1F-D288D3B58A47}"/>
              </a:ext>
            </a:extLst>
          </p:cNvPr>
          <p:cNvSpPr/>
          <p:nvPr/>
        </p:nvSpPr>
        <p:spPr>
          <a:xfrm>
            <a:off x="3546360" y="1121228"/>
            <a:ext cx="2052000" cy="36512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 dirty="0" err="1"/>
              <a:t>Consumption</a:t>
            </a:r>
            <a:endParaRPr lang="en-US" b="1" dirty="0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46BBB14A-1788-1A00-FEBC-998DC4AFCA72}"/>
              </a:ext>
            </a:extLst>
          </p:cNvPr>
          <p:cNvSpPr/>
          <p:nvPr/>
        </p:nvSpPr>
        <p:spPr>
          <a:xfrm>
            <a:off x="6576782" y="1121228"/>
            <a:ext cx="2052000" cy="36512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/>
              <a:t>Wastewater</a:t>
            </a:r>
            <a:endParaRPr lang="en-US" b="1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CE011F88-EE0C-C043-BA5C-6FFDDB77CF07}"/>
              </a:ext>
            </a:extLst>
          </p:cNvPr>
          <p:cNvSpPr/>
          <p:nvPr/>
        </p:nvSpPr>
        <p:spPr>
          <a:xfrm>
            <a:off x="9607204" y="1121228"/>
            <a:ext cx="2052000" cy="36512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 err="1">
                <a:solidFill>
                  <a:schemeClr val="bg1"/>
                </a:solidFill>
              </a:rPr>
              <a:t>Treatment</a:t>
            </a:r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9" name="Picture 2" descr="Vannlekkasje | Norsk Rørteknikk AS">
            <a:extLst>
              <a:ext uri="{FF2B5EF4-FFF2-40B4-BE49-F238E27FC236}">
                <a16:creationId xmlns:a16="http://schemas.microsoft.com/office/drawing/2014/main" id="{24C55C89-4BD8-B339-33E9-DAEB7B5983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2" t="3563" r="497" b="5577"/>
          <a:stretch/>
        </p:blipFill>
        <p:spPr bwMode="auto">
          <a:xfrm>
            <a:off x="532031" y="1488306"/>
            <a:ext cx="2052000" cy="148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Lite fart på vannet? | Huseierne">
            <a:extLst>
              <a:ext uri="{FF2B5EF4-FFF2-40B4-BE49-F238E27FC236}">
                <a16:creationId xmlns:a16="http://schemas.microsoft.com/office/drawing/2014/main" id="{979177BC-7D41-4E50-C589-D6AF20C332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2" r="1" b="11300"/>
          <a:stretch/>
        </p:blipFill>
        <p:spPr bwMode="auto">
          <a:xfrm>
            <a:off x="3557089" y="1488334"/>
            <a:ext cx="2052000" cy="1470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6" descr="A picture containing manhole cover, brick, outdoor object, close&#10;&#10;Description automatically generated">
            <a:extLst>
              <a:ext uri="{FF2B5EF4-FFF2-40B4-BE49-F238E27FC236}">
                <a16:creationId xmlns:a16="http://schemas.microsoft.com/office/drawing/2014/main" id="{AE716E97-B70B-1E74-19F9-DFD41BF89E2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76" b="33042"/>
          <a:stretch/>
        </p:blipFill>
        <p:spPr>
          <a:xfrm>
            <a:off x="6582147" y="1488306"/>
            <a:ext cx="2052000" cy="1477383"/>
          </a:xfrm>
          <a:prstGeom prst="rect">
            <a:avLst/>
          </a:prstGeom>
        </p:spPr>
      </p:pic>
      <p:pic>
        <p:nvPicPr>
          <p:cNvPr id="17" name="Picture 18">
            <a:extLst>
              <a:ext uri="{FF2B5EF4-FFF2-40B4-BE49-F238E27FC236}">
                <a16:creationId xmlns:a16="http://schemas.microsoft.com/office/drawing/2014/main" id="{E44B1753-EB5F-5F86-7F9A-4BB1819CC32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54"/>
          <a:stretch/>
        </p:blipFill>
        <p:spPr>
          <a:xfrm>
            <a:off x="9607204" y="1488334"/>
            <a:ext cx="2052000" cy="1470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7556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 descr="Et bilde som inneholder vann, utendørs, båt, fjell&#10;&#10;Automatisk generert beskrivelse">
            <a:extLst>
              <a:ext uri="{FF2B5EF4-FFF2-40B4-BE49-F238E27FC236}">
                <a16:creationId xmlns:a16="http://schemas.microsoft.com/office/drawing/2014/main" id="{993D9F74-C825-4E79-BA57-E651542901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980"/>
          <a:stretch/>
        </p:blipFill>
        <p:spPr>
          <a:xfrm>
            <a:off x="0" y="-1148"/>
            <a:ext cx="4149441" cy="6858000"/>
          </a:xfrm>
          <a:prstGeom prst="rect">
            <a:avLst/>
          </a:prstGeom>
        </p:spPr>
      </p:pic>
      <p:sp>
        <p:nvSpPr>
          <p:cNvPr id="8" name="Tile">
            <a:extLst>
              <a:ext uri="{FF2B5EF4-FFF2-40B4-BE49-F238E27FC236}">
                <a16:creationId xmlns:a16="http://schemas.microsoft.com/office/drawing/2014/main" id="{1EB8E95D-5EC8-4285-947E-352CDDB18633}"/>
              </a:ext>
            </a:extLst>
          </p:cNvPr>
          <p:cNvSpPr/>
          <p:nvPr/>
        </p:nvSpPr>
        <p:spPr>
          <a:xfrm>
            <a:off x="1871" y="5212703"/>
            <a:ext cx="4149441" cy="1645297"/>
          </a:xfrm>
          <a:prstGeom prst="rect">
            <a:avLst/>
          </a:prstGeom>
          <a:solidFill>
            <a:srgbClr val="7FBB0A">
              <a:alpha val="75000"/>
            </a:srgbClr>
          </a:solidFill>
          <a:ln>
            <a:noFill/>
          </a:ln>
        </p:spPr>
        <p:style>
          <a:lnRef idx="2">
            <a:srgbClr val="4F81BD">
              <a:shade val="50000"/>
            </a:srgbClr>
          </a:lnRef>
          <a:fillRef idx="1">
            <a:srgbClr val="4F81BD"/>
          </a:fillRef>
          <a:effectRef idx="0">
            <a:srgbClr val="4F81BD"/>
          </a:effectRef>
          <a:fontRef idx="minor">
            <a:srgbClr val="000000"/>
          </a:fontRef>
        </p:style>
        <p:txBody>
          <a:bodyPr rtlCol="0" anchor="ctr"/>
          <a:lstStyle/>
          <a:p>
            <a:pPr algn="ctr"/>
            <a:r>
              <a:rPr lang="en-US" sz="3200" b="1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rPr>
              <a:t>Let</a:t>
            </a:r>
            <a:r>
              <a:rPr lang="en-GB" sz="3200" b="1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rPr>
              <a:t>’s talk</a:t>
            </a:r>
            <a:endParaRPr lang="en-US" sz="3200" b="1">
              <a:solidFill>
                <a:schemeClr val="bg1"/>
              </a:solidFill>
              <a:latin typeface="+mj-lt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Text Box 3">
            <a:extLst>
              <a:ext uri="{FF2B5EF4-FFF2-40B4-BE49-F238E27FC236}">
                <a16:creationId xmlns:a16="http://schemas.microsoft.com/office/drawing/2014/main" id="{7E652DF0-A0E4-4F5B-AFAE-ED9D5B8C9782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38907" y="1190251"/>
            <a:ext cx="7037156" cy="210493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71938" tIns="35970" rIns="71938" bIns="35970" anchor="t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285750" indent="-285750" defTabSz="913851">
              <a:buClr>
                <a:schemeClr val="bg1"/>
              </a:buClr>
              <a:buFont typeface="Arial,Sans-Serif" panose="020B0604020202020204" pitchFamily="34" charset="0"/>
              <a:buChar char="•"/>
              <a:defRPr kern="0">
                <a:solidFill>
                  <a:schemeClr val="bg1"/>
                </a:solidFill>
                <a:latin typeface="Titillium Web" panose="00000500000000000000"/>
                <a:cs typeface="Times New Roman"/>
              </a:defRPr>
            </a:lvl1pPr>
          </a:lstStyle>
          <a:p>
            <a:pPr marL="0" indent="0">
              <a:buNone/>
            </a:pPr>
            <a:r>
              <a:rPr lang="en-GB" sz="3600" b="1" dirty="0">
                <a:latin typeface="+mj-lt"/>
                <a:cs typeface="Arial" panose="020B0604020202020204" pitchFamily="34" charset="0"/>
              </a:rPr>
              <a:t>Johnny Alexander Gunneng</a:t>
            </a:r>
            <a:endParaRPr lang="en-GB" sz="3600" b="1" dirty="0">
              <a:latin typeface="+mj-lt"/>
              <a:cs typeface="Arial" panose="020B0604020202020204" pitchFamily="34" charset="0"/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buNone/>
            </a:pPr>
            <a:r>
              <a:rPr lang="en-GB" sz="3600" dirty="0">
                <a:latin typeface="+mj-lt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hnny.gunneng@infotiles.no</a:t>
            </a:r>
            <a:endParaRPr lang="en-GB" sz="3600" dirty="0">
              <a:latin typeface="+mj-lt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sz="3600" dirty="0">
                <a:latin typeface="+mj-lt"/>
                <a:cs typeface="Arial" panose="020B0604020202020204" pitchFamily="34" charset="0"/>
              </a:rPr>
              <a:t>+47 906 19 364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C5E3FF9C-AA40-4C76-96D5-23DD45C04C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907" y="3299516"/>
            <a:ext cx="2720513" cy="2720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4175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jG4cnenUuqw17b5PI4Uw"/>
</p:tagLst>
</file>

<file path=ppt/theme/theme1.xml><?xml version="1.0" encoding="utf-8"?>
<a:theme xmlns:a="http://schemas.openxmlformats.org/drawingml/2006/main" name="InfoTiles - PowerPoint -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79170FAF-38C8-452A-9B77-702F0330C7D1}" vid="{E781C341-275B-4059-8230-44E29500F58B}"/>
    </a:ext>
  </a:extLst>
</a:theme>
</file>

<file path=ppt/theme/theme2.xml><?xml version="1.0" encoding="utf-8"?>
<a:theme xmlns:a="http://schemas.openxmlformats.org/drawingml/2006/main" name="1_InfoTiles - PowerPoint -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79170FAF-38C8-452A-9B77-702F0330C7D1}" vid="{E781C341-275B-4059-8230-44E29500F58B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E0CB686A521F349BDACED92B70BD6C0" ma:contentTypeVersion="16" ma:contentTypeDescription="Opprett et nytt dokument." ma:contentTypeScope="" ma:versionID="dadcb9279195d8238998fa85bee77fe3">
  <xsd:schema xmlns:xsd="http://www.w3.org/2001/XMLSchema" xmlns:xs="http://www.w3.org/2001/XMLSchema" xmlns:p="http://schemas.microsoft.com/office/2006/metadata/properties" xmlns:ns2="757820aa-3572-4d4c-93cd-fadf52c628f7" xmlns:ns3="cffb74d8-1d89-4cde-a659-4cfb287f08e7" targetNamespace="http://schemas.microsoft.com/office/2006/metadata/properties" ma:root="true" ma:fieldsID="c4af97ba4983e52324ff0303eeff8723" ns2:_="" ns3:_="">
    <xsd:import namespace="757820aa-3572-4d4c-93cd-fadf52c628f7"/>
    <xsd:import namespace="cffb74d8-1d89-4cde-a659-4cfb287f08e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7820aa-3572-4d4c-93cd-fadf52c628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emerkelapper" ma:readOnly="false" ma:fieldId="{5cf76f15-5ced-4ddc-b409-7134ff3c332f}" ma:taxonomyMulti="true" ma:sspId="3c9373d7-c6d1-4b8c-886d-3c071ed9e2f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fb74d8-1d89-4cde-a659-4cfb287f08e7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3b4da4f-1b52-4888-bda0-60b58a290ccb}" ma:internalName="TaxCatchAll" ma:showField="CatchAllData" ma:web="cffb74d8-1d89-4cde-a659-4cfb287f08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ffb74d8-1d89-4cde-a659-4cfb287f08e7" xsi:nil="true"/>
    <lcf76f155ced4ddcb4097134ff3c332f xmlns="757820aa-3572-4d4c-93cd-fadf52c628f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A1892B8-CFC2-460A-90B7-7BA60A441B9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766FEF4-874B-4FDF-B3E3-FC65CB651FEA}">
  <ds:schemaRefs>
    <ds:schemaRef ds:uri="757820aa-3572-4d4c-93cd-fadf52c628f7"/>
    <ds:schemaRef ds:uri="cffb74d8-1d89-4cde-a659-4cfb287f08e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FD614C1-3EA0-4ADD-BE57-3799FBBFD3D3}">
  <ds:schemaRefs>
    <ds:schemaRef ds:uri="757820aa-3572-4d4c-93cd-fadf52c628f7"/>
    <ds:schemaRef ds:uri="cffb74d8-1d89-4cde-a659-4cfb287f08e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</TotalTime>
  <Words>38</Words>
  <Application>Microsoft Office PowerPoint</Application>
  <PresentationFormat>Widescreen</PresentationFormat>
  <Paragraphs>16</Paragraphs>
  <Slides>4</Slides>
  <Notes>2</Notes>
  <HiddenSlides>0</HiddenSlides>
  <MMClips>0</MMClips>
  <ScaleCrop>false</ScaleCrop>
  <HeadingPairs>
    <vt:vector size="6" baseType="variant">
      <vt:variant>
        <vt:lpstr>Brukte skrifter</vt:lpstr>
      </vt:variant>
      <vt:variant>
        <vt:i4>5</vt:i4>
      </vt:variant>
      <vt:variant>
        <vt:lpstr>Tema</vt:lpstr>
      </vt:variant>
      <vt:variant>
        <vt:i4>2</vt:i4>
      </vt:variant>
      <vt:variant>
        <vt:lpstr>Lysbildetitler</vt:lpstr>
      </vt:variant>
      <vt:variant>
        <vt:i4>4</vt:i4>
      </vt:variant>
    </vt:vector>
  </HeadingPairs>
  <TitlesOfParts>
    <vt:vector size="11" baseType="lpstr">
      <vt:lpstr>Arial</vt:lpstr>
      <vt:lpstr>Arial,Sans-Serif</vt:lpstr>
      <vt:lpstr>Calibri</vt:lpstr>
      <vt:lpstr>Calibri Light</vt:lpstr>
      <vt:lpstr>Titillium Web</vt:lpstr>
      <vt:lpstr>InfoTiles - PowerPoint - Template</vt:lpstr>
      <vt:lpstr>1_InfoTiles - PowerPoint - Template</vt:lpstr>
      <vt:lpstr>PowerPoint-presentasjon</vt:lpstr>
      <vt:lpstr>PowerPoint-presentasjon</vt:lpstr>
      <vt:lpstr>You can’t manage what you don’t measure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Johnny Gunneng</dc:creator>
  <cp:lastModifiedBy>Johnny Gunneng</cp:lastModifiedBy>
  <cp:revision>1</cp:revision>
  <dcterms:created xsi:type="dcterms:W3CDTF">2020-07-06T07:54:30Z</dcterms:created>
  <dcterms:modified xsi:type="dcterms:W3CDTF">2022-10-18T19:4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0CB686A521F349BDACED92B70BD6C0</vt:lpwstr>
  </property>
  <property fmtid="{D5CDD505-2E9C-101B-9397-08002B2CF9AE}" pid="3" name="MediaServiceImageTags">
    <vt:lpwstr/>
  </property>
</Properties>
</file>